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A8BA2736-B912-4D5A-8357-304D117CCE6C}"/>
    <pc:docChg chg="modSld">
      <pc:chgData name="Weigel Stefan (PAR-EPS)" userId="fd3b2067-2981-4ad8-bf3a-d2e1004e4fa8" providerId="ADAL" clId="{A8BA2736-B912-4D5A-8357-304D117CCE6C}" dt="2024-02-28T13:13:31.021" v="7" actId="27918"/>
      <pc:docMkLst>
        <pc:docMk/>
      </pc:docMkLst>
      <pc:sldChg chg="modSp mod">
        <pc:chgData name="Weigel Stefan (PAR-EPS)" userId="fd3b2067-2981-4ad8-bf3a-d2e1004e4fa8" providerId="ADAL" clId="{A8BA2736-B912-4D5A-8357-304D117CCE6C}" dt="2024-02-28T13:13:31.021" v="7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A8BA2736-B912-4D5A-8357-304D117CCE6C}" dt="2024-02-28T13:12:47.604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10:32.993" v="83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10:32.993" v="83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viamenti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i con il coinvolgimento di corse treno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Incidenti presso passaggi a livello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cidenti di viaggiatori o di terzi nell’accesso ai treni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i con il coinvolgimento di corse treno per mio di tracce-chilometro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4666744795290797"/>
          <c:h val="0.2063830258829060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37</cdr:x>
      <cdr:y>0.116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77650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 err="1"/>
            <a:t>quantità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803</cdr:x>
      <cdr:y>0.07302</cdr:y>
    </cdr:from>
    <cdr:to>
      <cdr:x>0.90014</cdr:x>
      <cdr:y>0.1166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66678" y="392022"/>
          <a:ext cx="1250347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50" dirty="0" err="1"/>
            <a:t>quantità</a:t>
          </a:r>
          <a:r>
            <a:rPr lang="de-CH" sz="1050" dirty="0"/>
            <a:t>/</a:t>
          </a:r>
          <a:r>
            <a:rPr lang="de-CH" sz="1050" dirty="0" err="1"/>
            <a:t>mio</a:t>
          </a:r>
          <a:r>
            <a:rPr lang="de-CH" sz="1050" dirty="0"/>
            <a:t> di </a:t>
          </a:r>
          <a:r>
            <a:rPr lang="de-CH" sz="1050" dirty="0" err="1"/>
            <a:t>trkm</a:t>
          </a:r>
          <a:endParaRPr lang="de-CH" sz="105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cidenti</a:t>
            </a:r>
            <a:r>
              <a:rPr lang="de-CH" dirty="0"/>
              <a:t> ferrovia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40960048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42085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Incidenti ferrovia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identi ferroviari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3:1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